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998" r:id="rId18"/>
    <p:sldId id="999" r:id="rId19"/>
    <p:sldId id="543" r:id="rId20"/>
    <p:sldId id="544" r:id="rId21"/>
    <p:sldId id="940" r:id="rId22"/>
    <p:sldId id="941" r:id="rId23"/>
    <p:sldId id="743" r:id="rId24"/>
    <p:sldId id="1000" r:id="rId25"/>
    <p:sldId id="422" r:id="rId26"/>
    <p:sldId id="423" r:id="rId27"/>
    <p:sldId id="1001" r:id="rId28"/>
    <p:sldId id="548" r:id="rId29"/>
    <p:sldId id="545" r:id="rId30"/>
    <p:sldId id="424" r:id="rId31"/>
    <p:sldId id="437" r:id="rId32"/>
    <p:sldId id="971" r:id="rId33"/>
    <p:sldId id="1009" r:id="rId34"/>
    <p:sldId id="634" r:id="rId35"/>
    <p:sldId id="458" r:id="rId36"/>
    <p:sldId id="259" r:id="rId37"/>
    <p:sldId id="425" r:id="rId38"/>
    <p:sldId id="436" r:id="rId39"/>
    <p:sldId id="970" r:id="rId40"/>
    <p:sldId id="1010" r:id="rId41"/>
    <p:sldId id="1011" r:id="rId42"/>
    <p:sldId id="1012" r:id="rId43"/>
    <p:sldId id="1006" r:id="rId44"/>
    <p:sldId id="605" r:id="rId45"/>
    <p:sldId id="1008" r:id="rId46"/>
    <p:sldId id="546" r:id="rId47"/>
    <p:sldId id="426" r:id="rId48"/>
    <p:sldId id="438" r:id="rId49"/>
    <p:sldId id="972" r:id="rId50"/>
    <p:sldId id="1013" r:id="rId51"/>
    <p:sldId id="547" r:id="rId52"/>
    <p:sldId id="439" r:id="rId53"/>
    <p:sldId id="973" r:id="rId54"/>
    <p:sldId id="1014" r:id="rId55"/>
    <p:sldId id="1017" r:id="rId56"/>
    <p:sldId id="460" r:id="rId57"/>
    <p:sldId id="617" r:id="rId58"/>
    <p:sldId id="549" r:id="rId59"/>
    <p:sldId id="427" r:id="rId60"/>
    <p:sldId id="623" r:id="rId61"/>
    <p:sldId id="440" r:id="rId62"/>
    <p:sldId id="974" r:id="rId63"/>
    <p:sldId id="1015" r:id="rId64"/>
    <p:sldId id="1016" r:id="rId65"/>
    <p:sldId id="618" r:id="rId66"/>
    <p:sldId id="975" r:id="rId67"/>
    <p:sldId id="969" r:id="rId68"/>
    <p:sldId id="260" r:id="rId69"/>
    <p:sldId id="511" r:id="rId70"/>
    <p:sldId id="512" r:id="rId71"/>
    <p:sldId id="513" r:id="rId72"/>
    <p:sldId id="514" r:id="rId73"/>
    <p:sldId id="515" r:id="rId74"/>
    <p:sldId id="516" r:id="rId75"/>
    <p:sldId id="517" r:id="rId76"/>
    <p:sldId id="946" r:id="rId77"/>
    <p:sldId id="509" r:id="rId78"/>
    <p:sldId id="1005" r:id="rId79"/>
    <p:sldId id="1003" r:id="rId80"/>
    <p:sldId id="1004" r:id="rId81"/>
    <p:sldId id="1002" r:id="rId82"/>
    <p:sldId id="1007" r:id="rId83"/>
    <p:sldId id="442" r:id="rId84"/>
    <p:sldId id="550" r:id="rId85"/>
    <p:sldId id="624" r:id="rId86"/>
    <p:sldId id="551" r:id="rId87"/>
    <p:sldId id="625" r:id="rId88"/>
    <p:sldId id="976" r:id="rId89"/>
    <p:sldId id="552" r:id="rId90"/>
    <p:sldId id="626" r:id="rId91"/>
    <p:sldId id="977" r:id="rId92"/>
    <p:sldId id="944" r:id="rId93"/>
    <p:sldId id="980" r:id="rId94"/>
    <p:sldId id="981" r:id="rId95"/>
    <p:sldId id="553" r:id="rId96"/>
    <p:sldId id="627" r:id="rId97"/>
    <p:sldId id="742" r:id="rId98"/>
    <p:sldId id="978" r:id="rId99"/>
    <p:sldId id="947" r:id="rId100"/>
    <p:sldId id="997" r:id="rId101"/>
    <p:sldId id="979" r:id="rId102"/>
    <p:sldId id="263" r:id="rId103"/>
    <p:sldId id="960" r:id="rId104"/>
    <p:sldId id="961" r:id="rId105"/>
    <p:sldId id="962" r:id="rId106"/>
    <p:sldId id="261" r:id="rId107"/>
    <p:sldId id="956" r:id="rId108"/>
    <p:sldId id="959" r:id="rId109"/>
    <p:sldId id="957" r:id="rId110"/>
    <p:sldId id="958" r:id="rId111"/>
    <p:sldId id="968" r:id="rId112"/>
  </p:sldIdLst>
  <p:sldSz cx="12192000" cy="6858000"/>
  <p:notesSz cx="6858000" cy="9144000"/>
  <p:custDataLst>
    <p:tags r:id="rId1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bleStyles" Target="tableStyle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ags" Target="tags/tag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108.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5.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5.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5.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5.emf"/></Relationships>
</file>

<file path=ppt/slides/_rels/slide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5.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5.emf"/></Relationships>
</file>

<file path=ppt/slides/_rels/slide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5.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98C24A5B-FD3E-AC0A-D1CD-081186CA04DD}"/>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0054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B7AD464D-9C84-3F9B-F7B0-F3DAC8049A23}"/>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28826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28FCE9AA-CF19-2F59-EF96-25A1CFC5D2AC}"/>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9567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FC82C18C-E7FD-DBCE-61DC-9764F176B039}"/>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42265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696</Words>
  <Application>Microsoft Office PowerPoint</Application>
  <PresentationFormat>Breitbild</PresentationFormat>
  <Paragraphs>779</Paragraphs>
  <Slides>111</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11</vt:i4>
      </vt:variant>
    </vt:vector>
  </HeadingPairs>
  <TitlesOfParts>
    <vt:vector size="125"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Quiz</vt:lpstr>
      <vt:lpstr>Quiz 2</vt:lpstr>
      <vt:lpstr>Java 16 – JVM Verbesserungen</vt:lpstr>
      <vt:lpstr>(Warning for) Value-Based Classes</vt:lpstr>
      <vt:lpstr>Agenda</vt:lpstr>
      <vt:lpstr>Java 17 – 14.09.2021 (LTS bis 2029)</vt:lpstr>
      <vt:lpstr>Sealed Classes (Java 17)</vt:lpstr>
      <vt:lpstr>Sealed Classes 2</vt:lpstr>
      <vt:lpstr>Sealed Classes Code</vt:lpstr>
      <vt:lpstr>Quiz</vt:lpstr>
      <vt:lpstr>Quiz 2</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88</cp:revision>
  <cp:lastPrinted>2022-04-07T14:57:57Z</cp:lastPrinted>
  <dcterms:created xsi:type="dcterms:W3CDTF">2019-11-12T08:00:01Z</dcterms:created>
  <dcterms:modified xsi:type="dcterms:W3CDTF">2025-02-10T06:52:56Z</dcterms:modified>
</cp:coreProperties>
</file>